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6"/>
  </p:notesMasterIdLst>
  <p:sldIdLst>
    <p:sldId id="259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0065B5-E35B-456A-98FE-738E1BB8A605}" v="6" dt="2022-09-20T15:29:02.6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Jones" userId="396c5f3c-b274-48fb-ad8d-216d1014b4d4" providerId="ADAL" clId="{CD0065B5-E35B-456A-98FE-738E1BB8A605}"/>
    <pc:docChg chg="custSel delSld modSld">
      <pc:chgData name="David Jones" userId="396c5f3c-b274-48fb-ad8d-216d1014b4d4" providerId="ADAL" clId="{CD0065B5-E35B-456A-98FE-738E1BB8A605}" dt="2022-09-21T14:51:38.530" v="1003" actId="20577"/>
      <pc:docMkLst>
        <pc:docMk/>
      </pc:docMkLst>
      <pc:sldChg chg="modSp del mod">
        <pc:chgData name="David Jones" userId="396c5f3c-b274-48fb-ad8d-216d1014b4d4" providerId="ADAL" clId="{CD0065B5-E35B-456A-98FE-738E1BB8A605}" dt="2022-09-20T15:34:29.528" v="996" actId="47"/>
        <pc:sldMkLst>
          <pc:docMk/>
          <pc:sldMk cId="1880883173" sldId="257"/>
        </pc:sldMkLst>
        <pc:spChg chg="mod">
          <ac:chgData name="David Jones" userId="396c5f3c-b274-48fb-ad8d-216d1014b4d4" providerId="ADAL" clId="{CD0065B5-E35B-456A-98FE-738E1BB8A605}" dt="2022-09-20T15:23:40.246" v="94" actId="14100"/>
          <ac:spMkLst>
            <pc:docMk/>
            <pc:sldMk cId="1880883173" sldId="257"/>
            <ac:spMk id="2" creationId="{00000000-0000-0000-0000-000000000000}"/>
          </ac:spMkLst>
        </pc:spChg>
      </pc:sldChg>
      <pc:sldChg chg="del">
        <pc:chgData name="David Jones" userId="396c5f3c-b274-48fb-ad8d-216d1014b4d4" providerId="ADAL" clId="{CD0065B5-E35B-456A-98FE-738E1BB8A605}" dt="2022-09-20T15:34:31.306" v="997" actId="47"/>
        <pc:sldMkLst>
          <pc:docMk/>
          <pc:sldMk cId="3812118559" sldId="258"/>
        </pc:sldMkLst>
      </pc:sldChg>
      <pc:sldChg chg="addSp delSp modSp mod">
        <pc:chgData name="David Jones" userId="396c5f3c-b274-48fb-ad8d-216d1014b4d4" providerId="ADAL" clId="{CD0065B5-E35B-456A-98FE-738E1BB8A605}" dt="2022-09-21T14:51:38.530" v="1003" actId="20577"/>
        <pc:sldMkLst>
          <pc:docMk/>
          <pc:sldMk cId="2759322154" sldId="259"/>
        </pc:sldMkLst>
        <pc:spChg chg="del">
          <ac:chgData name="David Jones" userId="396c5f3c-b274-48fb-ad8d-216d1014b4d4" providerId="ADAL" clId="{CD0065B5-E35B-456A-98FE-738E1BB8A605}" dt="2022-09-20T15:24:43.980" v="97" actId="478"/>
          <ac:spMkLst>
            <pc:docMk/>
            <pc:sldMk cId="2759322154" sldId="259"/>
            <ac:spMk id="2" creationId="{00000000-0000-0000-0000-000000000000}"/>
          </ac:spMkLst>
        </pc:spChg>
        <pc:spChg chg="add del mod">
          <ac:chgData name="David Jones" userId="396c5f3c-b274-48fb-ad8d-216d1014b4d4" providerId="ADAL" clId="{CD0065B5-E35B-456A-98FE-738E1BB8A605}" dt="2022-09-20T15:24:41.946" v="96"/>
          <ac:spMkLst>
            <pc:docMk/>
            <pc:sldMk cId="2759322154" sldId="259"/>
            <ac:spMk id="3" creationId="{310A3E2D-9CED-C9F0-9352-CA4D1087FFF2}"/>
          </ac:spMkLst>
        </pc:spChg>
        <pc:spChg chg="add del mod">
          <ac:chgData name="David Jones" userId="396c5f3c-b274-48fb-ad8d-216d1014b4d4" providerId="ADAL" clId="{CD0065B5-E35B-456A-98FE-738E1BB8A605}" dt="2022-09-20T15:24:46.563" v="98" actId="478"/>
          <ac:spMkLst>
            <pc:docMk/>
            <pc:sldMk cId="2759322154" sldId="259"/>
            <ac:spMk id="6" creationId="{A21CC13B-4A68-C85F-0F83-1445F440ADAE}"/>
          </ac:spMkLst>
        </pc:spChg>
        <pc:spChg chg="mod">
          <ac:chgData name="David Jones" userId="396c5f3c-b274-48fb-ad8d-216d1014b4d4" providerId="ADAL" clId="{CD0065B5-E35B-456A-98FE-738E1BB8A605}" dt="2022-09-20T15:27:46.468" v="195" actId="1076"/>
          <ac:spMkLst>
            <pc:docMk/>
            <pc:sldMk cId="2759322154" sldId="259"/>
            <ac:spMk id="7" creationId="{0802DE64-C14E-7A72-67A7-AD1E7C7090E4}"/>
          </ac:spMkLst>
        </pc:spChg>
        <pc:spChg chg="mod">
          <ac:chgData name="David Jones" userId="396c5f3c-b274-48fb-ad8d-216d1014b4d4" providerId="ADAL" clId="{CD0065B5-E35B-456A-98FE-738E1BB8A605}" dt="2022-09-20T15:27:46.468" v="195" actId="1076"/>
          <ac:spMkLst>
            <pc:docMk/>
            <pc:sldMk cId="2759322154" sldId="259"/>
            <ac:spMk id="9" creationId="{AFE324F0-5C11-BC04-F6F1-16DC9A96A97A}"/>
          </ac:spMkLst>
        </pc:spChg>
        <pc:spChg chg="mod">
          <ac:chgData name="David Jones" userId="396c5f3c-b274-48fb-ad8d-216d1014b4d4" providerId="ADAL" clId="{CD0065B5-E35B-456A-98FE-738E1BB8A605}" dt="2022-09-20T15:27:46.468" v="195" actId="1076"/>
          <ac:spMkLst>
            <pc:docMk/>
            <pc:sldMk cId="2759322154" sldId="259"/>
            <ac:spMk id="10" creationId="{2B8F5501-BC4D-CD9F-8913-219CD3306669}"/>
          </ac:spMkLst>
        </pc:spChg>
        <pc:spChg chg="mod">
          <ac:chgData name="David Jones" userId="396c5f3c-b274-48fb-ad8d-216d1014b4d4" providerId="ADAL" clId="{CD0065B5-E35B-456A-98FE-738E1BB8A605}" dt="2022-09-20T15:27:46.468" v="195" actId="1076"/>
          <ac:spMkLst>
            <pc:docMk/>
            <pc:sldMk cId="2759322154" sldId="259"/>
            <ac:spMk id="11" creationId="{ECDFC041-9A2C-FC0E-51DD-56D616849D7F}"/>
          </ac:spMkLst>
        </pc:spChg>
        <pc:spChg chg="add mod">
          <ac:chgData name="David Jones" userId="396c5f3c-b274-48fb-ad8d-216d1014b4d4" providerId="ADAL" clId="{CD0065B5-E35B-456A-98FE-738E1BB8A605}" dt="2022-09-20T15:24:47.055" v="99"/>
          <ac:spMkLst>
            <pc:docMk/>
            <pc:sldMk cId="2759322154" sldId="259"/>
            <ac:spMk id="12" creationId="{FAE0CFF7-5B49-6D18-0B70-94363D050404}"/>
          </ac:spMkLst>
        </pc:spChg>
        <pc:spChg chg="add mod">
          <ac:chgData name="David Jones" userId="396c5f3c-b274-48fb-ad8d-216d1014b4d4" providerId="ADAL" clId="{CD0065B5-E35B-456A-98FE-738E1BB8A605}" dt="2022-09-20T15:28:09.894" v="198" actId="207"/>
          <ac:spMkLst>
            <pc:docMk/>
            <pc:sldMk cId="2759322154" sldId="259"/>
            <ac:spMk id="13" creationId="{CF04141D-E7FA-40C7-4F87-137C861BBF2C}"/>
          </ac:spMkLst>
        </pc:spChg>
        <pc:spChg chg="add mod">
          <ac:chgData name="David Jones" userId="396c5f3c-b274-48fb-ad8d-216d1014b4d4" providerId="ADAL" clId="{CD0065B5-E35B-456A-98FE-738E1BB8A605}" dt="2022-09-20T15:28:38.942" v="226" actId="207"/>
          <ac:spMkLst>
            <pc:docMk/>
            <pc:sldMk cId="2759322154" sldId="259"/>
            <ac:spMk id="14" creationId="{9454A423-360C-DEEC-194B-E9C185A12205}"/>
          </ac:spMkLst>
        </pc:spChg>
        <pc:spChg chg="add mod">
          <ac:chgData name="David Jones" userId="396c5f3c-b274-48fb-ad8d-216d1014b4d4" providerId="ADAL" clId="{CD0065B5-E35B-456A-98FE-738E1BB8A605}" dt="2022-09-20T15:34:12.829" v="995" actId="20577"/>
          <ac:spMkLst>
            <pc:docMk/>
            <pc:sldMk cId="2759322154" sldId="259"/>
            <ac:spMk id="15" creationId="{557ACEFE-401F-9CCF-2639-26364A6EC28B}"/>
          </ac:spMkLst>
        </pc:spChg>
        <pc:spChg chg="mod">
          <ac:chgData name="David Jones" userId="396c5f3c-b274-48fb-ad8d-216d1014b4d4" providerId="ADAL" clId="{CD0065B5-E35B-456A-98FE-738E1BB8A605}" dt="2022-09-20T15:28:43.900" v="227" actId="14100"/>
          <ac:spMkLst>
            <pc:docMk/>
            <pc:sldMk cId="2759322154" sldId="259"/>
            <ac:spMk id="16" creationId="{1731237F-BAE0-8A33-2527-B7B7614E5D1F}"/>
          </ac:spMkLst>
        </pc:spChg>
        <pc:spChg chg="mod">
          <ac:chgData name="David Jones" userId="396c5f3c-b274-48fb-ad8d-216d1014b4d4" providerId="ADAL" clId="{CD0065B5-E35B-456A-98FE-738E1BB8A605}" dt="2022-09-20T15:27:49.244" v="196" actId="14100"/>
          <ac:spMkLst>
            <pc:docMk/>
            <pc:sldMk cId="2759322154" sldId="259"/>
            <ac:spMk id="18" creationId="{872227EB-44F1-78E3-0CE5-DCD122E3E081}"/>
          </ac:spMkLst>
        </pc:spChg>
        <pc:spChg chg="mod">
          <ac:chgData name="David Jones" userId="396c5f3c-b274-48fb-ad8d-216d1014b4d4" providerId="ADAL" clId="{CD0065B5-E35B-456A-98FE-738E1BB8A605}" dt="2022-09-20T15:27:32.125" v="194" actId="1076"/>
          <ac:spMkLst>
            <pc:docMk/>
            <pc:sldMk cId="2759322154" sldId="259"/>
            <ac:spMk id="20" creationId="{07F3D200-269B-5795-9549-A9D88789091C}"/>
          </ac:spMkLst>
        </pc:spChg>
        <pc:spChg chg="del">
          <ac:chgData name="David Jones" userId="396c5f3c-b274-48fb-ad8d-216d1014b4d4" providerId="ADAL" clId="{CD0065B5-E35B-456A-98FE-738E1BB8A605}" dt="2022-09-20T15:25:32.204" v="122" actId="478"/>
          <ac:spMkLst>
            <pc:docMk/>
            <pc:sldMk cId="2759322154" sldId="259"/>
            <ac:spMk id="22" creationId="{A3C72513-8E60-F58F-BFD8-45DC799E23B7}"/>
          </ac:spMkLst>
        </pc:spChg>
        <pc:graphicFrameChg chg="mod modGraphic">
          <ac:chgData name="David Jones" userId="396c5f3c-b274-48fb-ad8d-216d1014b4d4" providerId="ADAL" clId="{CD0065B5-E35B-456A-98FE-738E1BB8A605}" dt="2022-09-21T14:51:38.530" v="1003" actId="20577"/>
          <ac:graphicFrameMkLst>
            <pc:docMk/>
            <pc:sldMk cId="2759322154" sldId="259"/>
            <ac:graphicFrameMk id="8" creationId="{00000000-0000-0000-0000-000000000000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FC2A1A-7E3E-499E-B0E1-781FBB10133C}" type="datetimeFigureOut">
              <a:rPr lang="en-GB" smtClean="0"/>
              <a:t>21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C16D49-0882-4626-9DF6-7B820125B9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4279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153FA9-3F76-4237-8B9E-EF82C6AA26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83431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12192000" cy="8367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9728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24745"/>
            <a:ext cx="10972800" cy="5001420"/>
          </a:xfrm>
        </p:spPr>
        <p:txBody>
          <a:bodyPr/>
          <a:lstStyle>
            <a:lvl1pPr>
              <a:defRPr sz="2800"/>
            </a:lvl1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AMBER- LIMITED DISCLOS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3F2A01-A562-4CBA-A846-26FCE683EC2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No_Classification"/>
          <p:cNvSpPr txBox="1"/>
          <p:nvPr userDrawn="1">
            <p:custDataLst>
              <p:tags r:id="rId2"/>
            </p:custDataLst>
          </p:nvPr>
        </p:nvSpPr>
        <p:spPr>
          <a:xfrm>
            <a:off x="269875" y="6612382"/>
            <a:ext cx="1273683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just"/>
            <a:endParaRPr lang="en-GB" sz="1000">
              <a:solidFill>
                <a:srgbClr val="7E7E7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377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620688"/>
            <a:ext cx="10972800" cy="79208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55456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GB" sz="900" smtClean="0">
                <a:solidFill>
                  <a:srgbClr val="00386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3392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00386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AMBER- LIMITED DISCLOS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z="900" smtClean="0">
                <a:solidFill>
                  <a:srgbClr val="00386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Page </a:t>
            </a:r>
            <a:fld id="{B33F2A01-A562-4CBA-A846-26FCE683EC2C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3997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rgbClr val="009FE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8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4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rgbClr val="40404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3F2A01-A562-4CBA-A846-26FCE683EC2C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38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38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6560001"/>
              </p:ext>
            </p:extLst>
          </p:nvPr>
        </p:nvGraphicFramePr>
        <p:xfrm>
          <a:off x="54277" y="980762"/>
          <a:ext cx="11986334" cy="2789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3984">
                  <a:extLst>
                    <a:ext uri="{9D8B030D-6E8A-4147-A177-3AD203B41FA5}">
                      <a16:colId xmlns:a16="http://schemas.microsoft.com/office/drawing/2014/main" val="3033059536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3294595506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4053282266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2933505166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1279327250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1072225584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2303591259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685479411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3474052337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3288612969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2288744971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365031163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2007197830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1945028083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629550940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1221205509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314168143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1260223868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694207697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4127696310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2952064169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2406907656"/>
                    </a:ext>
                  </a:extLst>
                </a:gridCol>
                <a:gridCol w="476925">
                  <a:extLst>
                    <a:ext uri="{9D8B030D-6E8A-4147-A177-3AD203B41FA5}">
                      <a16:colId xmlns:a16="http://schemas.microsoft.com/office/drawing/2014/main" val="1514527338"/>
                    </a:ext>
                  </a:extLst>
                </a:gridCol>
              </a:tblGrid>
              <a:tr h="398030"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GB" sz="1100"/>
                        <a:t>Sep’22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GB" sz="1100"/>
                        <a:t>Oct’22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GB" sz="1100" dirty="0"/>
                        <a:t>Nov’22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GB" sz="1100" dirty="0"/>
                        <a:t>Dec’22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GB" sz="1100" dirty="0"/>
                        <a:t>Jan’22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26413051"/>
                  </a:ext>
                </a:extLst>
              </a:tr>
              <a:tr h="898041">
                <a:tc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marL="82279" marR="82279" marT="41139" marB="41139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err="1"/>
                        <a:t>wc</a:t>
                      </a:r>
                      <a:r>
                        <a:rPr lang="en-GB" sz="950"/>
                        <a:t> – 5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12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err="1"/>
                        <a:t>wc</a:t>
                      </a:r>
                      <a:r>
                        <a:rPr lang="en-GB" sz="950"/>
                        <a:t> – 19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26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3</a:t>
                      </a:r>
                      <a:r>
                        <a:rPr lang="en-GB" sz="950" baseline="30000"/>
                        <a:t>rd</a:t>
                      </a:r>
                      <a:r>
                        <a:rPr lang="en-GB" sz="950"/>
                        <a:t> 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10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17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50" err="1"/>
                        <a:t>wc</a:t>
                      </a:r>
                      <a:r>
                        <a:rPr lang="en-GB" sz="950"/>
                        <a:t> – 24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31</a:t>
                      </a:r>
                      <a:r>
                        <a:rPr lang="en-GB" sz="950" baseline="30000"/>
                        <a:t>st</a:t>
                      </a:r>
                      <a:r>
                        <a:rPr lang="en-GB" sz="950"/>
                        <a:t>  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7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14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21</a:t>
                      </a:r>
                      <a:r>
                        <a:rPr lang="en-GB" sz="950" baseline="30000"/>
                        <a:t>st</a:t>
                      </a:r>
                      <a:r>
                        <a:rPr lang="en-GB" sz="950"/>
                        <a:t> 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err="1"/>
                        <a:t>wc</a:t>
                      </a:r>
                      <a:r>
                        <a:rPr lang="en-GB" sz="950"/>
                        <a:t> – 28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5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err="1"/>
                        <a:t>wc</a:t>
                      </a:r>
                      <a:r>
                        <a:rPr lang="en-GB" sz="950"/>
                        <a:t> – 12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19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err="1"/>
                        <a:t>wc</a:t>
                      </a:r>
                      <a:r>
                        <a:rPr lang="en-GB" sz="950"/>
                        <a:t> – 26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2</a:t>
                      </a:r>
                      <a:r>
                        <a:rPr lang="en-GB" sz="950" baseline="30000"/>
                        <a:t>nd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err="1"/>
                        <a:t>wc</a:t>
                      </a:r>
                      <a:r>
                        <a:rPr lang="en-GB" sz="950"/>
                        <a:t> – 9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16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err="1"/>
                        <a:t>wc</a:t>
                      </a:r>
                      <a:r>
                        <a:rPr lang="en-GB" sz="950"/>
                        <a:t> – 23</a:t>
                      </a:r>
                      <a:r>
                        <a:rPr lang="en-GB" sz="950" baseline="30000"/>
                        <a:t>rd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err="1"/>
                        <a:t>wc</a:t>
                      </a:r>
                      <a:r>
                        <a:rPr lang="en-GB" sz="950"/>
                        <a:t> – 30</a:t>
                      </a:r>
                      <a:r>
                        <a:rPr lang="en-GB" sz="950" baseline="30000"/>
                        <a:t>th</a:t>
                      </a:r>
                      <a:r>
                        <a:rPr lang="en-GB" sz="950"/>
                        <a:t> </a:t>
                      </a:r>
                    </a:p>
                  </a:txBody>
                  <a:tcPr marL="82279" marR="82279" marT="41139" marB="4113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3765327"/>
                  </a:ext>
                </a:extLst>
              </a:tr>
              <a:tr h="1493889"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lt HAN ‘User Contract’ Changes</a:t>
                      </a:r>
                    </a:p>
                  </a:txBody>
                  <a:tcPr marL="82279" marR="82279" marT="41139" marB="41139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dirty="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dirty="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dirty="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000" dirty="0"/>
                    </a:p>
                  </a:txBody>
                  <a:tcPr marL="82279" marR="82279" marT="41139" marB="4113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4113907"/>
                  </a:ext>
                </a:extLst>
              </a:tr>
            </a:tbl>
          </a:graphicData>
        </a:graphic>
      </p:graphicFrame>
      <p:sp>
        <p:nvSpPr>
          <p:cNvPr id="7" name="Arrow: Pentagon 6">
            <a:extLst>
              <a:ext uri="{FF2B5EF4-FFF2-40B4-BE49-F238E27FC236}">
                <a16:creationId xmlns:a16="http://schemas.microsoft.com/office/drawing/2014/main" id="{0802DE64-C14E-7A72-67A7-AD1E7C7090E4}"/>
              </a:ext>
            </a:extLst>
          </p:cNvPr>
          <p:cNvSpPr/>
          <p:nvPr/>
        </p:nvSpPr>
        <p:spPr>
          <a:xfrm>
            <a:off x="2127713" y="2799161"/>
            <a:ext cx="635928" cy="256654"/>
          </a:xfrm>
          <a:prstGeom prst="homePlate">
            <a:avLst/>
          </a:prstGeom>
          <a:solidFill>
            <a:schemeClr val="accent5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36000" bIns="0" rtlCol="0" anchor="ctr"/>
          <a:lstStyle/>
          <a:p>
            <a:pPr lvl="0" algn="ctr" defTabSz="914352">
              <a:lnSpc>
                <a:spcPts val="600"/>
              </a:lnSpc>
              <a:defRPr/>
            </a:pPr>
            <a:r>
              <a:rPr lang="en-GB" sz="800" dirty="0">
                <a:solidFill>
                  <a:srgbClr val="FFFFFF"/>
                </a:solidFill>
                <a:latin typeface="Calibri" panose="020F0502020204030204" pitchFamily="34" charset="0"/>
              </a:rPr>
              <a:t>Contract Working Group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AFE324F0-5C11-BC04-F6F1-16DC9A96A97A}"/>
              </a:ext>
            </a:extLst>
          </p:cNvPr>
          <p:cNvSpPr/>
          <p:nvPr/>
        </p:nvSpPr>
        <p:spPr>
          <a:xfrm>
            <a:off x="4503013" y="2786140"/>
            <a:ext cx="486460" cy="256654"/>
          </a:xfrm>
          <a:prstGeom prst="homePlate">
            <a:avLst/>
          </a:prstGeom>
          <a:solidFill>
            <a:schemeClr val="accent5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36000" bIns="0" rtlCol="0" anchor="ctr"/>
          <a:lstStyle/>
          <a:p>
            <a:pPr marL="0" marR="0" lvl="0" indent="0" algn="ctr" defTabSz="914352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rgbClr val="FFFFFF"/>
                </a:solidFill>
                <a:latin typeface="Calibri" panose="020F0502020204030204" pitchFamily="34" charset="0"/>
              </a:rPr>
              <a:t>Contract Working Group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2B8F5501-BC4D-CD9F-8913-219CD3306669}"/>
              </a:ext>
            </a:extLst>
          </p:cNvPr>
          <p:cNvSpPr/>
          <p:nvPr/>
        </p:nvSpPr>
        <p:spPr>
          <a:xfrm>
            <a:off x="6391853" y="2799161"/>
            <a:ext cx="486460" cy="256654"/>
          </a:xfrm>
          <a:prstGeom prst="homePlate">
            <a:avLst/>
          </a:prstGeom>
          <a:solidFill>
            <a:schemeClr val="accent5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36000" bIns="0" rtlCol="0" anchor="ctr"/>
          <a:lstStyle/>
          <a:p>
            <a:pPr marL="0" marR="0" lvl="0" indent="0" algn="ctr" defTabSz="914352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rgbClr val="FFFFFF"/>
                </a:solidFill>
                <a:latin typeface="Calibri" panose="020F0502020204030204" pitchFamily="34" charset="0"/>
              </a:rPr>
              <a:t>Contract Working Group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ECDFC041-9A2C-FC0E-51DD-56D616849D7F}"/>
              </a:ext>
            </a:extLst>
          </p:cNvPr>
          <p:cNvSpPr/>
          <p:nvPr/>
        </p:nvSpPr>
        <p:spPr>
          <a:xfrm>
            <a:off x="7810983" y="2786140"/>
            <a:ext cx="486460" cy="256654"/>
          </a:xfrm>
          <a:prstGeom prst="homePlate">
            <a:avLst/>
          </a:prstGeom>
          <a:solidFill>
            <a:schemeClr val="accent5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36000" bIns="0" rtlCol="0" anchor="ctr"/>
          <a:lstStyle/>
          <a:p>
            <a:pPr marL="0" marR="0" lvl="0" indent="0" algn="ctr" defTabSz="914352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rgbClr val="FFFFFF"/>
                </a:solidFill>
                <a:latin typeface="Calibri" panose="020F0502020204030204" pitchFamily="34" charset="0"/>
              </a:rPr>
              <a:t>Contract Working Group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1731237F-BAE0-8A33-2527-B7B7614E5D1F}"/>
              </a:ext>
            </a:extLst>
          </p:cNvPr>
          <p:cNvSpPr/>
          <p:nvPr/>
        </p:nvSpPr>
        <p:spPr>
          <a:xfrm>
            <a:off x="8737600" y="2346078"/>
            <a:ext cx="2342634" cy="336360"/>
          </a:xfrm>
          <a:prstGeom prst="homePlate">
            <a:avLst/>
          </a:prstGeom>
          <a:solidFill>
            <a:schemeClr val="accent5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36000" bIns="0" rtlCol="0" anchor="ctr"/>
          <a:lstStyle/>
          <a:p>
            <a:pPr marL="0" marR="0" lvl="0" indent="0" algn="ctr" defTabSz="914352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peal Window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1757B6AE-BF11-5456-43FD-E17AD9F7F66D}"/>
              </a:ext>
            </a:extLst>
          </p:cNvPr>
          <p:cNvSpPr/>
          <p:nvPr/>
        </p:nvSpPr>
        <p:spPr>
          <a:xfrm>
            <a:off x="1781942" y="2378106"/>
            <a:ext cx="2644818" cy="229992"/>
          </a:xfrm>
          <a:prstGeom prst="homePlate">
            <a:avLst/>
          </a:prstGeom>
          <a:solidFill>
            <a:schemeClr val="accent5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36000" bIns="0" rtlCol="0" anchor="ctr"/>
          <a:lstStyle/>
          <a:p>
            <a:pPr marL="0" marR="0" lvl="0" indent="0" algn="ctr" defTabSz="914352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itial Drafting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872227EB-44F1-78E3-0CE5-DCD122E3E081}"/>
              </a:ext>
            </a:extLst>
          </p:cNvPr>
          <p:cNvSpPr/>
          <p:nvPr/>
        </p:nvSpPr>
        <p:spPr>
          <a:xfrm>
            <a:off x="6123603" y="2402904"/>
            <a:ext cx="722369" cy="279533"/>
          </a:xfrm>
          <a:prstGeom prst="homePlate">
            <a:avLst/>
          </a:prstGeom>
          <a:solidFill>
            <a:schemeClr val="accent5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36000" bIns="0" rtlCol="0" anchor="ctr"/>
          <a:lstStyle/>
          <a:p>
            <a:pPr marL="0" marR="0" lvl="0" indent="0" algn="ctr" defTabSz="914352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sultation Response Review</a:t>
            </a: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D6C3312B-E457-3212-5AD4-02C5FA19B72F}"/>
              </a:ext>
            </a:extLst>
          </p:cNvPr>
          <p:cNvSpPr/>
          <p:nvPr/>
        </p:nvSpPr>
        <p:spPr>
          <a:xfrm>
            <a:off x="6878313" y="2402905"/>
            <a:ext cx="1134459" cy="230532"/>
          </a:xfrm>
          <a:prstGeom prst="homePlate">
            <a:avLst/>
          </a:prstGeom>
          <a:solidFill>
            <a:schemeClr val="accent5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36000" bIns="0" rtlCol="0" anchor="ctr"/>
          <a:lstStyle/>
          <a:p>
            <a:pPr marL="0" marR="0" lvl="0" indent="0" algn="ctr" defTabSz="914352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vised Drafting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07F3D200-269B-5795-9549-A9D88789091C}"/>
              </a:ext>
            </a:extLst>
          </p:cNvPr>
          <p:cNvSpPr/>
          <p:nvPr/>
        </p:nvSpPr>
        <p:spPr>
          <a:xfrm>
            <a:off x="4969032" y="3251800"/>
            <a:ext cx="1300666" cy="206213"/>
          </a:xfrm>
          <a:prstGeom prst="homePlate">
            <a:avLst/>
          </a:prstGeom>
          <a:solidFill>
            <a:schemeClr val="accent5">
              <a:lumMod val="75000"/>
              <a:lumOff val="2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36000" bIns="0" rtlCol="0" anchor="ctr"/>
          <a:lstStyle/>
          <a:p>
            <a:pPr marL="0" marR="0" lvl="0" indent="0" algn="ctr" defTabSz="914352" rtl="0" eaLnBrk="1" fontAlgn="auto" latinLnBrk="0" hangingPunct="1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tract change Consultatio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AE0CFF7-5B49-6D18-0B70-94363D050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05" y="112145"/>
            <a:ext cx="11280695" cy="576064"/>
          </a:xfrm>
        </p:spPr>
        <p:txBody>
          <a:bodyPr>
            <a:noAutofit/>
          </a:bodyPr>
          <a:lstStyle/>
          <a:p>
            <a:r>
              <a:rPr lang="en-GB" sz="2800" dirty="0"/>
              <a:t>Overview of plan to progress Alt HAN changes to enable MP210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F04141D-E7FA-40C7-4F87-137C861BBF2C}"/>
              </a:ext>
            </a:extLst>
          </p:cNvPr>
          <p:cNvSpPr/>
          <p:nvPr/>
        </p:nvSpPr>
        <p:spPr>
          <a:xfrm>
            <a:off x="8512404" y="2786140"/>
            <a:ext cx="225196" cy="183303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54A423-360C-DEEC-194B-E9C185A12205}"/>
              </a:ext>
            </a:extLst>
          </p:cNvPr>
          <p:cNvSpPr txBox="1"/>
          <p:nvPr/>
        </p:nvSpPr>
        <p:spPr>
          <a:xfrm>
            <a:off x="8109412" y="2981583"/>
            <a:ext cx="13500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dirty="0">
                <a:solidFill>
                  <a:schemeClr val="accent5"/>
                </a:solidFill>
              </a:rPr>
              <a:t>Contract change decis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7ACEFE-401F-9CCF-2639-26364A6EC28B}"/>
              </a:ext>
            </a:extLst>
          </p:cNvPr>
          <p:cNvSpPr txBox="1"/>
          <p:nvPr/>
        </p:nvSpPr>
        <p:spPr>
          <a:xfrm>
            <a:off x="54278" y="4063275"/>
            <a:ext cx="1198633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u="sng" dirty="0">
                <a:solidFill>
                  <a:schemeClr val="accent5"/>
                </a:solidFill>
              </a:rPr>
              <a:t>Not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5"/>
                </a:solidFill>
              </a:rPr>
              <a:t>Alt HAN is proposing to introduce a user contract specific to Meter Operators/Meter Equipment Managers who have agreement from a Relevant Energy Supplier to undertake forecast, ordering and device management activities on their behalf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5"/>
                </a:solidFill>
              </a:rPr>
              <a:t>The new contract and updated Supplier contract changes are being developed by Alt HAN and the Forums’ Supplier Contract working group prior to consultation on proposed cha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5"/>
                </a:solidFill>
              </a:rPr>
              <a:t>The Relevant Suppliers remains ultimately responsible for their Alt HAN obligations</a:t>
            </a:r>
          </a:p>
        </p:txBody>
      </p:sp>
    </p:spTree>
    <p:extLst>
      <p:ext uri="{BB962C8B-B14F-4D97-AF65-F5344CB8AC3E}">
        <p14:creationId xmlns:p14="http://schemas.microsoft.com/office/powerpoint/2010/main" val="2759322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heme/theme1.xml><?xml version="1.0" encoding="utf-8"?>
<a:theme xmlns:a="http://schemas.openxmlformats.org/drawingml/2006/main" name="blank">
  <a:themeElements>
    <a:clrScheme name="Alt HAN">
      <a:dk1>
        <a:srgbClr val="FFFFFF"/>
      </a:dk1>
      <a:lt1>
        <a:srgbClr val="FFFFFF"/>
      </a:lt1>
      <a:dk2>
        <a:srgbClr val="4D4D4D"/>
      </a:dk2>
      <a:lt2>
        <a:srgbClr val="66768C"/>
      </a:lt2>
      <a:accent1>
        <a:srgbClr val="009FE3"/>
      </a:accent1>
      <a:accent2>
        <a:srgbClr val="005CA9"/>
      </a:accent2>
      <a:accent3>
        <a:srgbClr val="003869"/>
      </a:accent3>
      <a:accent4>
        <a:srgbClr val="66768C"/>
      </a:accent4>
      <a:accent5>
        <a:srgbClr val="130E53"/>
      </a:accent5>
      <a:accent6>
        <a:srgbClr val="F79646"/>
      </a:accent6>
      <a:hlink>
        <a:srgbClr val="009FE3"/>
      </a:hlink>
      <a:folHlink>
        <a:srgbClr val="00386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5e8df70-7ba7-462a-92bc-0eb2af61e599" xsi:nil="true"/>
    <lcf76f155ced4ddcb4097134ff3c332f xmlns="c7dccf3f-008e-465c-9e46-b3283d304c80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366D072EF7CE499869A57962EEDEF5" ma:contentTypeVersion="15" ma:contentTypeDescription="Create a new document." ma:contentTypeScope="" ma:versionID="9d2f3fb9529fda9112de76d5abaa06cc">
  <xsd:schema xmlns:xsd="http://www.w3.org/2001/XMLSchema" xmlns:xs="http://www.w3.org/2001/XMLSchema" xmlns:p="http://schemas.microsoft.com/office/2006/metadata/properties" xmlns:ns2="c7dccf3f-008e-465c-9e46-b3283d304c80" xmlns:ns3="d5e8df70-7ba7-462a-92bc-0eb2af61e599" targetNamespace="http://schemas.microsoft.com/office/2006/metadata/properties" ma:root="true" ma:fieldsID="c08234e3e9b72ef4eb4759d1a38dad56" ns2:_="" ns3:_="">
    <xsd:import namespace="c7dccf3f-008e-465c-9e46-b3283d304c80"/>
    <xsd:import namespace="d5e8df70-7ba7-462a-92bc-0eb2af61e5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ccf3f-008e-465c-9e46-b3283d304c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5e11d1ff-3de3-40aa-b1cb-720a3f5ef5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e8df70-7ba7-462a-92bc-0eb2af61e59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188e3084-6947-48ea-be46-cbabc134540f}" ma:internalName="TaxCatchAll" ma:showField="CatchAllData" ma:web="d5e8df70-7ba7-462a-92bc-0eb2af61e5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374C02-C2A0-46CF-B494-0497314212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DEDB82-FF2D-4D4C-9229-DA9F90AF36B8}">
  <ds:schemaRefs>
    <ds:schemaRef ds:uri="http://schemas.microsoft.com/office/2006/documentManagement/types"/>
    <ds:schemaRef ds:uri="http://purl.org/dc/dcmitype/"/>
    <ds:schemaRef ds:uri="420b88ac-43f7-424c-b6d3-b4e6955e0c86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a277f9a5-540b-46b5-a504-a397f3394c7f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0506FB5-BAE0-452D-B54B-BF28D620903A}"/>
</file>

<file path=docProps/app.xml><?xml version="1.0" encoding="utf-8"?>
<Properties xmlns="http://schemas.openxmlformats.org/officeDocument/2006/extended-properties" xmlns:vt="http://schemas.openxmlformats.org/officeDocument/2006/docPropsVTypes">
  <TotalTime>30</TotalTime>
  <Words>197</Words>
  <Application>Microsoft Office PowerPoint</Application>
  <PresentationFormat>Widescreen</PresentationFormat>
  <Paragraphs>4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blank</vt:lpstr>
      <vt:lpstr>think-cell Slide</vt:lpstr>
      <vt:lpstr>Overview of plan to progress Alt HAN changes to enable MP210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122</dc:title>
  <dc:creator>Priya Bhayani</dc:creator>
  <cp:lastModifiedBy>David Jones</cp:lastModifiedBy>
  <cp:revision>4</cp:revision>
  <dcterms:created xsi:type="dcterms:W3CDTF">2022-08-25T13:15:50Z</dcterms:created>
  <dcterms:modified xsi:type="dcterms:W3CDTF">2022-09-21T14:5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3E6297DF27FA47A3DB238C0B9E4982</vt:lpwstr>
  </property>
  <property fmtid="{D5CDD505-2E9C-101B-9397-08002B2CF9AE}" pid="3" name="MediaServiceImageTags">
    <vt:lpwstr/>
  </property>
</Properties>
</file>